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notesSlides/notesSlide3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notesSlides/notesSlide4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notesSlides/notesSlide5.xml" ContentType="application/vnd.openxmlformats-officedocument.presentationml.notesSlide+xml"/>
  <Override PartName="/ppt/charts/chart1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"/>
  </p:notesMasterIdLst>
  <p:sldIdLst>
    <p:sldId id="256" r:id="rId2"/>
    <p:sldId id="260" r:id="rId3"/>
    <p:sldId id="261" r:id="rId4"/>
    <p:sldId id="272" r:id="rId5"/>
    <p:sldId id="273" r:id="rId6"/>
    <p:sldId id="274" r:id="rId7"/>
    <p:sldId id="264" r:id="rId8"/>
    <p:sldId id="268" r:id="rId9"/>
    <p:sldId id="270" r:id="rId10"/>
    <p:sldId id="271" r:id="rId11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768"/>
    <p:restoredTop sz="92109"/>
  </p:normalViewPr>
  <p:slideViewPr>
    <p:cSldViewPr snapToGrid="0" snapToObjects="1">
      <p:cViewPr varScale="1">
        <p:scale>
          <a:sx n="117" d="100"/>
          <a:sy n="117" d="100"/>
        </p:scale>
        <p:origin x="1376" y="1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baseline="0">
                <a:solidFill>
                  <a:schemeClr val="tx1"/>
                </a:solidFill>
                <a:latin typeface="Cambria"/>
                <a:ea typeface="+mn-ea"/>
                <a:cs typeface="Cambria"/>
              </a:defRPr>
            </a:pPr>
            <a:r>
              <a:rPr lang="en-US" sz="2200" dirty="0"/>
              <a:t>National</a:t>
            </a:r>
          </a:p>
        </c:rich>
      </c:tx>
      <c:layout>
        <c:manualLayout>
          <c:xMode val="edge"/>
          <c:yMode val="edge"/>
          <c:x val="0.26482719068130001"/>
          <c:y val="0.132871612074601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baseline="0">
              <a:solidFill>
                <a:schemeClr val="tx1"/>
              </a:solidFill>
              <a:latin typeface="Cambria"/>
              <a:ea typeface="+mn-ea"/>
              <a:cs typeface="Cambria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Location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9525" cap="flat" cmpd="sng" algn="ctr">
                <a:solidFill>
                  <a:schemeClr val="lt1">
                    <a:shade val="95000"/>
                    <a:satMod val="105000"/>
                  </a:schemeClr>
                </a:solidFill>
                <a:prstDash val="solid"/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0-F872-3749-AE0D-C5135D4C46A8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shade val="95000"/>
                    <a:satMod val="105000"/>
                  </a:schemeClr>
                </a:solidFill>
                <a:prstDash val="solid"/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F872-3749-AE0D-C5135D4C46A8}"/>
              </c:ext>
            </c:extLst>
          </c:dPt>
          <c:dPt>
            <c:idx val="2"/>
            <c:bubble3D val="0"/>
            <c:spPr>
              <a:solidFill>
                <a:srgbClr val="00B050"/>
              </a:solidFill>
              <a:ln w="9525" cap="flat" cmpd="sng" algn="ctr">
                <a:solidFill>
                  <a:schemeClr val="lt1">
                    <a:shade val="95000"/>
                    <a:satMod val="105000"/>
                  </a:schemeClr>
                </a:solidFill>
                <a:prstDash val="solid"/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F872-3749-AE0D-C5135D4C46A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Cambria"/>
                    <a:ea typeface="+mn-ea"/>
                    <a:cs typeface="Cambria"/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Home/Residence</c:v>
                </c:pt>
                <c:pt idx="1">
                  <c:v>Nursing Home</c:v>
                </c:pt>
                <c:pt idx="2">
                  <c:v>Public Setting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74.2</c:v>
                </c:pt>
                <c:pt idx="1">
                  <c:v>10.7</c:v>
                </c:pt>
                <c:pt idx="2">
                  <c:v>15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872-3749-AE0D-C5135D4C46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5874015056191604"/>
          <c:y val="0.44196737799226371"/>
          <c:w val="0.32287332504489602"/>
          <c:h val="0.2673245450747167"/>
        </c:manualLayout>
      </c:layout>
      <c:overlay val="0"/>
      <c:spPr>
        <a:noFill/>
        <a:ln w="12700">
          <a:solidFill>
            <a:srgbClr val="002060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Cambria"/>
              <a:ea typeface="+mn-ea"/>
              <a:cs typeface="Cambria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554229108458195E-2"/>
          <c:y val="4.1798941798941801E-2"/>
          <c:w val="0.76530728013836979"/>
          <c:h val="0.805199558388534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ermont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tx1"/>
              </a:solidFill>
            </a:ln>
          </c:spPr>
          <c:invertIfNegative val="0"/>
          <c:dLbls>
            <c:dLbl>
              <c:idx val="2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6950905330382083E-2"/>
                      <c:h val="6.550264550264549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C5CE-6A47-816C-A2775F2CAB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VFib/VTach/
Unknown Shockable</c:v>
                </c:pt>
                <c:pt idx="1">
                  <c:v>Asystole</c:v>
                </c:pt>
                <c:pt idx="2">
                  <c:v>Idioventricular/
PEA</c:v>
                </c:pt>
                <c:pt idx="3">
                  <c:v>Unknown 
Unshockable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0.21099999999999999</c:v>
                </c:pt>
                <c:pt idx="1">
                  <c:v>0.41399999999999998</c:v>
                </c:pt>
                <c:pt idx="2">
                  <c:v>0.114</c:v>
                </c:pt>
                <c:pt idx="3">
                  <c:v>0.261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5CE-6A47-816C-A2775F2CAB3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tional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chemeClr val="tx1"/>
              </a:solidFill>
            </a:ln>
          </c:spPr>
          <c:invertIfNegative val="0"/>
          <c:dLbls>
            <c:dLbl>
              <c:idx val="0"/>
              <c:layout>
                <c:manualLayout>
                  <c:x val="0"/>
                  <c:y val="-2.645502645502645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644-C349-A5EC-1C47DA3A06B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VFib/VTach/
Unknown Shockable</c:v>
                </c:pt>
                <c:pt idx="1">
                  <c:v>Asystole</c:v>
                </c:pt>
                <c:pt idx="2">
                  <c:v>Idioventricular/
PEA</c:v>
                </c:pt>
                <c:pt idx="3">
                  <c:v>Unknown 
Unshockable</c:v>
                </c:pt>
              </c:strCache>
            </c:strRef>
          </c:cat>
          <c:val>
            <c:numRef>
              <c:f>Sheet1!$C$2:$C$5</c:f>
              <c:numCache>
                <c:formatCode>0.0%</c:formatCode>
                <c:ptCount val="4"/>
                <c:pt idx="0">
                  <c:v>0.16500000000000001</c:v>
                </c:pt>
                <c:pt idx="1">
                  <c:v>0.53200000000000003</c:v>
                </c:pt>
                <c:pt idx="2">
                  <c:v>0.221</c:v>
                </c:pt>
                <c:pt idx="3">
                  <c:v>8.2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5CE-6A47-816C-A2775F2CAB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08277368"/>
        <c:axId val="1907872312"/>
      </c:barChart>
      <c:catAx>
        <c:axId val="19082773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1907872312"/>
        <c:crosses val="autoZero"/>
        <c:auto val="1"/>
        <c:lblAlgn val="ctr"/>
        <c:lblOffset val="100"/>
        <c:noMultiLvlLbl val="0"/>
      </c:catAx>
      <c:valAx>
        <c:axId val="1907872312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908277368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2200" dirty="0"/>
              <a:t>National</a:t>
            </a:r>
          </a:p>
        </c:rich>
      </c:tx>
      <c:layout>
        <c:manualLayout>
          <c:xMode val="edge"/>
          <c:yMode val="edge"/>
          <c:x val="0.24382833724731801"/>
          <c:y val="0.1226092954218139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ustained ROSC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0-7FB9-C446-AD03-2C9339A74A57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1-7FB9-C446-AD03-2C9339A74A57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7FB9-C446-AD03-2C9339A74A5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7.1</c:v>
                </c:pt>
                <c:pt idx="1">
                  <c:v>72.9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FB9-C446-AD03-2C9339A74A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81250065441705321"/>
          <c:y val="0.40648946912469863"/>
          <c:w val="0.14849910959008925"/>
          <c:h val="0.18754106682705299"/>
        </c:manualLayout>
      </c:layout>
      <c:overlay val="0"/>
      <c:spPr>
        <a:ln w="12700">
          <a:solidFill>
            <a:srgbClr val="002060"/>
          </a:solidFill>
        </a:ln>
      </c:spPr>
      <c:txPr>
        <a:bodyPr/>
        <a:lstStyle/>
        <a:p>
          <a:pPr>
            <a:defRPr sz="1400" b="1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2200" dirty="0"/>
              <a:t>Vermont</a:t>
            </a:r>
          </a:p>
        </c:rich>
      </c:tx>
      <c:layout>
        <c:manualLayout>
          <c:xMode val="edge"/>
          <c:yMode val="edge"/>
          <c:x val="0.24382833724731801"/>
          <c:y val="0.1226092954218139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ustained ROSC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0-A1B8-6B42-9299-54D9FD1B8A0E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1-A1B8-6B42-9299-54D9FD1B8A0E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A1B8-6B42-9299-54D9FD1B8A0E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4.8</c:v>
                </c:pt>
                <c:pt idx="1">
                  <c:v>75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B8-6B42-9299-54D9FD1B8A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49175880111765E-2"/>
          <c:y val="3.2685958297292005E-2"/>
          <c:w val="0.79012719017705402"/>
          <c:h val="0.8363802696276598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ermont</c:v>
                </c:pt>
              </c:strCache>
            </c:strRef>
          </c:tx>
          <c:spPr>
            <a:solidFill>
              <a:schemeClr val="tx2"/>
            </a:solidFill>
            <a:ln>
              <a:solidFill>
                <a:srgbClr val="000000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Survival to Hospital Admission</c:v>
                </c:pt>
                <c:pt idx="1">
                  <c:v>Survival to Hospital Discharge</c:v>
                </c:pt>
                <c:pt idx="2">
                  <c:v>Good/Moderate 
CPC</c:v>
                </c:pt>
                <c:pt idx="3">
                  <c:v>Missing Hospital Outcome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0.221</c:v>
                </c:pt>
                <c:pt idx="1">
                  <c:v>0.10299999999999999</c:v>
                </c:pt>
                <c:pt idx="2">
                  <c:v>9.9000000000000005E-2</c:v>
                </c:pt>
                <c:pt idx="3" formatCode="0.00%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217-A241-9757-0A7D5DDBF8A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tional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000000"/>
              </a:solidFill>
            </a:ln>
          </c:spPr>
          <c:invertIfNegative val="0"/>
          <c:dLbls>
            <c:dLbl>
              <c:idx val="0"/>
              <c:layout>
                <c:manualLayout>
                  <c:x val="2.8811783469870635E-3"/>
                  <c:y val="-2.510829785644935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9410491586998042E-2"/>
                      <c:h val="6.182681851510569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8217-A241-9757-0A7D5DDBF8A4}"/>
                </c:ext>
              </c:extLst>
            </c:dLbl>
            <c:dLbl>
              <c:idx val="2"/>
              <c:layout>
                <c:manualLayout>
                  <c:x val="-1.440560815997167E-3"/>
                  <c:y val="-1.673893846133579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9DB-8A45-9D54-F4B06160610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Survival to Hospital Admission</c:v>
                </c:pt>
                <c:pt idx="1">
                  <c:v>Survival to Hospital Discharge</c:v>
                </c:pt>
                <c:pt idx="2">
                  <c:v>Good/Moderate 
CPC</c:v>
                </c:pt>
                <c:pt idx="3">
                  <c:v>Missing Hospital Outcome</c:v>
                </c:pt>
              </c:strCache>
            </c:strRef>
          </c:cat>
          <c:val>
            <c:numRef>
              <c:f>Sheet1!$C$2:$C$5</c:f>
              <c:numCache>
                <c:formatCode>0.0%</c:formatCode>
                <c:ptCount val="4"/>
                <c:pt idx="0">
                  <c:v>0.24</c:v>
                </c:pt>
                <c:pt idx="1">
                  <c:v>0.09</c:v>
                </c:pt>
                <c:pt idx="2">
                  <c:v>7.0999999999999994E-2</c:v>
                </c:pt>
                <c:pt idx="3" formatCode="0.00%">
                  <c:v>1.538751413139052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217-A241-9757-0A7D5DDBF8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845113864"/>
        <c:axId val="1845083768"/>
      </c:barChart>
      <c:catAx>
        <c:axId val="18451138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1845083768"/>
        <c:crosses val="autoZero"/>
        <c:auto val="1"/>
        <c:lblAlgn val="ctr"/>
        <c:lblOffset val="100"/>
        <c:noMultiLvlLbl val="0"/>
      </c:catAx>
      <c:valAx>
        <c:axId val="1845083768"/>
        <c:scaling>
          <c:orientation val="minMax"/>
          <c:max val="0.30000000000000004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84511386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6546511795414049"/>
          <c:y val="0.41383906015912975"/>
          <c:w val="0.13021319959786801"/>
          <c:h val="0.15000329506662624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ermont</c:v>
                </c:pt>
              </c:strCache>
            </c:strRef>
          </c:tx>
          <c:spPr>
            <a:solidFill>
              <a:schemeClr val="tx2"/>
            </a:solidFill>
            <a:ln>
              <a:solidFill>
                <a:srgbClr val="000000"/>
              </a:solidFill>
            </a:ln>
          </c:spPr>
          <c:invertIfNegative val="0"/>
          <c:dLbls>
            <c:dLbl>
              <c:idx val="0"/>
              <c:layout>
                <c:manualLayout>
                  <c:x val="0"/>
                  <c:y val="-8.570460658886230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A62-714F-B5B9-085FCBE92C6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Utstein Survival</c:v>
                </c:pt>
                <c:pt idx="1">
                  <c:v>Utstein Bystander Survival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0.24199999999999999</c:v>
                </c:pt>
                <c:pt idx="1">
                  <c:v>0.3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F90-A84C-8301-08C9AED6BB2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tional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000000"/>
              </a:solidFill>
            </a:ln>
          </c:spPr>
          <c:invertIfNegative val="0"/>
          <c:dLbls>
            <c:dLbl>
              <c:idx val="0"/>
              <c:layout>
                <c:manualLayout>
                  <c:x val="-3.003003003003003E-3"/>
                  <c:y val="-1.714092131777243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C70-A44A-A2E4-2F3A5A448514}"/>
                </c:ext>
              </c:extLst>
            </c:dLbl>
            <c:dLbl>
              <c:idx val="1"/>
              <c:layout>
                <c:manualLayout>
                  <c:x val="-1.5015015015015015E-3"/>
                  <c:y val="8.570460658886218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A62-714F-B5B9-085FCBE92C6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Utstein Survival</c:v>
                </c:pt>
                <c:pt idx="1">
                  <c:v>Utstein Bystander Survival</c:v>
                </c:pt>
              </c:strCache>
            </c:strRef>
          </c:cat>
          <c:val>
            <c:numRef>
              <c:f>Sheet1!$C$2:$C$3</c:f>
              <c:numCache>
                <c:formatCode>0.0%</c:formatCode>
                <c:ptCount val="2"/>
                <c:pt idx="0">
                  <c:v>0.29199999999999998</c:v>
                </c:pt>
                <c:pt idx="1">
                  <c:v>0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F90-A84C-8301-08C9AED6BB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803831064"/>
        <c:axId val="1905816536"/>
      </c:barChart>
      <c:catAx>
        <c:axId val="18038310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1905816536"/>
        <c:crosses val="autoZero"/>
        <c:auto val="1"/>
        <c:lblAlgn val="ctr"/>
        <c:lblOffset val="100"/>
        <c:noMultiLvlLbl val="0"/>
      </c:catAx>
      <c:valAx>
        <c:axId val="1905816536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803831064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Vermont</a:t>
            </a:r>
          </a:p>
        </c:rich>
      </c:tx>
      <c:layout>
        <c:manualLayout>
          <c:xMode val="edge"/>
          <c:yMode val="edge"/>
          <c:x val="0.25132903673984935"/>
          <c:y val="0.13287161207460157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Location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0-A767-EC43-8893-33B462779E94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1-A767-EC43-8893-33B462779E94}"/>
              </c:ext>
            </c:extLst>
          </c:dPt>
          <c:dPt>
            <c:idx val="2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2-A767-EC43-8893-33B462779E94}"/>
              </c:ext>
            </c:extLst>
          </c:dPt>
          <c:dLbls>
            <c:dLbl>
              <c:idx val="1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600"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A767-EC43-8893-33B462779E94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Home/Residence</c:v>
                </c:pt>
                <c:pt idx="1">
                  <c:v>Nursing Home</c:v>
                </c:pt>
                <c:pt idx="2">
                  <c:v>Public Setting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78.3</c:v>
                </c:pt>
                <c:pt idx="1">
                  <c:v>4.5999999999999996</c:v>
                </c:pt>
                <c:pt idx="2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767-EC43-8893-33B462779E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National</a:t>
            </a:r>
          </a:p>
        </c:rich>
      </c:tx>
      <c:layout>
        <c:manualLayout>
          <c:xMode val="edge"/>
          <c:yMode val="edge"/>
          <c:x val="0.26482719068130001"/>
          <c:y val="0.1328716120746019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rrest Witness Status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0-25E5-2C4A-99A4-B10D66CC3007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1-25E5-2C4A-99A4-B10D66CC3007}"/>
              </c:ext>
            </c:extLst>
          </c:dPt>
          <c:dPt>
            <c:idx val="2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2-25E5-2C4A-99A4-B10D66CC300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Bystander Witnessed</c:v>
                </c:pt>
                <c:pt idx="1">
                  <c:v>911 Responder Witnessed</c:v>
                </c:pt>
                <c:pt idx="2">
                  <c:v>Unwitnessed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 formatCode="0.0">
                  <c:v>37.1</c:v>
                </c:pt>
                <c:pt idx="1">
                  <c:v>12.8</c:v>
                </c:pt>
                <c:pt idx="2">
                  <c:v>5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5E5-2C4A-99A4-B10D66CC30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3651169348112868"/>
          <c:y val="0.44196737799226371"/>
          <c:w val="0.35681976939463511"/>
          <c:h val="0.2673245450747167"/>
        </c:manualLayout>
      </c:layout>
      <c:overlay val="0"/>
      <c:spPr>
        <a:ln w="12700">
          <a:solidFill>
            <a:srgbClr val="002060"/>
          </a:solidFill>
        </a:ln>
      </c:spPr>
      <c:txPr>
        <a:bodyPr/>
        <a:lstStyle/>
        <a:p>
          <a:pPr>
            <a:defRPr sz="1200" b="1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Vermont</a:t>
            </a:r>
          </a:p>
        </c:rich>
      </c:tx>
      <c:layout>
        <c:manualLayout>
          <c:xMode val="edge"/>
          <c:yMode val="edge"/>
          <c:x val="0.27594144079257932"/>
          <c:y val="0.13287161207460157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rrest Witness Status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0-D7A5-F443-8941-926C5B49E51E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1-D7A5-F443-8941-926C5B49E51E}"/>
              </c:ext>
            </c:extLst>
          </c:dPt>
          <c:dPt>
            <c:idx val="2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2-D7A5-F443-8941-926C5B49E51E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Bystander Witnessed</c:v>
                </c:pt>
                <c:pt idx="1">
                  <c:v>911 Responder Witnessed</c:v>
                </c:pt>
                <c:pt idx="2">
                  <c:v>Unwitnessed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43.3</c:v>
                </c:pt>
                <c:pt idx="1">
                  <c:v>15.5</c:v>
                </c:pt>
                <c:pt idx="2">
                  <c:v>4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7A5-F443-8941-926C5B49E5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National</a:t>
            </a:r>
          </a:p>
        </c:rich>
      </c:tx>
      <c:layout>
        <c:manualLayout>
          <c:xMode val="edge"/>
          <c:yMode val="edge"/>
          <c:x val="0.26482719068130001"/>
          <c:y val="0.1328716120746019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ho Initiated CPR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0-25E5-2C4A-99A4-B10D66CC3007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1-25E5-2C4A-99A4-B10D66CC3007}"/>
              </c:ext>
            </c:extLst>
          </c:dPt>
          <c:dPt>
            <c:idx val="2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2-25E5-2C4A-99A4-B10D66CC300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Bystander</c:v>
                </c:pt>
                <c:pt idx="1">
                  <c:v>First Responder</c:v>
                </c:pt>
                <c:pt idx="2">
                  <c:v>EMS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40.799999999999997</c:v>
                </c:pt>
                <c:pt idx="1">
                  <c:v>28.2</c:v>
                </c:pt>
                <c:pt idx="2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5E5-2C4A-99A4-B10D66CC30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3651169348112868"/>
          <c:y val="0.44196737799226371"/>
          <c:w val="0.35681976939463511"/>
          <c:h val="0.2673245450747167"/>
        </c:manualLayout>
      </c:layout>
      <c:overlay val="0"/>
      <c:spPr>
        <a:ln w="12700">
          <a:solidFill>
            <a:srgbClr val="002060"/>
          </a:solidFill>
        </a:ln>
      </c:spPr>
      <c:txPr>
        <a:bodyPr/>
        <a:lstStyle/>
        <a:p>
          <a:pPr>
            <a:defRPr sz="1400" b="1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Vermont</a:t>
            </a:r>
          </a:p>
        </c:rich>
      </c:tx>
      <c:layout>
        <c:manualLayout>
          <c:xMode val="edge"/>
          <c:yMode val="edge"/>
          <c:x val="0.27594144079257932"/>
          <c:y val="0.13287161207460157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ho Initiated CPR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0-D7A5-F443-8941-926C5B49E51E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1-D7A5-F443-8941-926C5B49E51E}"/>
              </c:ext>
            </c:extLst>
          </c:dPt>
          <c:dPt>
            <c:idx val="2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2-D7A5-F443-8941-926C5B49E51E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Lay Person</c:v>
                </c:pt>
                <c:pt idx="1">
                  <c:v>First Responder</c:v>
                </c:pt>
                <c:pt idx="2">
                  <c:v>EM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7.2</c:v>
                </c:pt>
                <c:pt idx="1">
                  <c:v>17.8</c:v>
                </c:pt>
                <c:pt idx="2">
                  <c:v>34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7A5-F443-8941-926C5B49E5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National</a:t>
            </a:r>
          </a:p>
        </c:rich>
      </c:tx>
      <c:layout>
        <c:manualLayout>
          <c:xMode val="edge"/>
          <c:yMode val="edge"/>
          <c:x val="0.26482719068130001"/>
          <c:y val="0.1328716120746019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as an AED Applied (prior to EMS Arrival)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0-25E5-2C4A-99A4-B10D66CC3007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1-25E5-2C4A-99A4-B10D66CC3007}"/>
              </c:ext>
            </c:extLst>
          </c:dPt>
          <c:dPt>
            <c:idx val="2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2-25E5-2C4A-99A4-B10D66CC300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No</c:v>
                </c:pt>
                <c:pt idx="1">
                  <c:v>Yes, by a bystander</c:v>
                </c:pt>
                <c:pt idx="2">
                  <c:v>Yes, by a First Responder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3"/>
                <c:pt idx="0">
                  <c:v>0.73435843470475981</c:v>
                </c:pt>
                <c:pt idx="1">
                  <c:v>5.7917180395328928E-2</c:v>
                </c:pt>
                <c:pt idx="2">
                  <c:v>0.207724384899911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5E5-2C4A-99A4-B10D66CC30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3651169348112868"/>
          <c:y val="0.44196737799226371"/>
          <c:w val="0.35681976939463511"/>
          <c:h val="0.2673245450747167"/>
        </c:manualLayout>
      </c:layout>
      <c:overlay val="0"/>
      <c:spPr>
        <a:ln w="12700">
          <a:solidFill>
            <a:srgbClr val="002060"/>
          </a:solidFill>
        </a:ln>
      </c:spPr>
      <c:txPr>
        <a:bodyPr/>
        <a:lstStyle/>
        <a:p>
          <a:pPr>
            <a:defRPr sz="1200" b="1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Vermont</a:t>
            </a:r>
          </a:p>
        </c:rich>
      </c:tx>
      <c:layout>
        <c:manualLayout>
          <c:xMode val="edge"/>
          <c:yMode val="edge"/>
          <c:x val="0.26038152083602806"/>
          <c:y val="0.13287161207460157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as an AED Applied (prior to EMS Arrival)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0-D7A5-F443-8941-926C5B49E51E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1-D7A5-F443-8941-926C5B49E51E}"/>
              </c:ext>
            </c:extLst>
          </c:dPt>
          <c:dPt>
            <c:idx val="2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2-D7A5-F443-8941-926C5B49E51E}"/>
              </c:ext>
            </c:extLst>
          </c:dPt>
          <c:dLbls>
            <c:dLbl>
              <c:idx val="1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600"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7A5-F443-8941-926C5B49E51E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No</c:v>
                </c:pt>
                <c:pt idx="1">
                  <c:v>Yes, by a bystander</c:v>
                </c:pt>
                <c:pt idx="2">
                  <c:v>Yes, by a First Responder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3"/>
                <c:pt idx="0">
                  <c:v>0.79883945841392645</c:v>
                </c:pt>
                <c:pt idx="1">
                  <c:v>2.9013539651837523E-2</c:v>
                </c:pt>
                <c:pt idx="2">
                  <c:v>0.172147001934235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7A5-F443-8941-926C5B49E5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554229108458195E-2"/>
          <c:y val="4.1798941798941801E-2"/>
          <c:w val="0.74533800210457601"/>
          <c:h val="0.846153928839928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ermont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tx1"/>
              </a:solidFill>
            </a:ln>
          </c:spPr>
          <c:invertIfNegative val="0"/>
          <c:dLbls>
            <c:dLbl>
              <c:idx val="2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6950905330382083E-2"/>
                      <c:h val="6.550264550264549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C5CE-6A47-816C-A2775F2CAB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Bystander CPR</c:v>
                </c:pt>
                <c:pt idx="1">
                  <c:v>Public AED Use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0.53800000000000003</c:v>
                </c:pt>
                <c:pt idx="1">
                  <c:v>6.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5CE-6A47-816C-A2775F2CAB3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tional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chemeClr val="tx1"/>
              </a:solidFill>
            </a:ln>
          </c:spPr>
          <c:invertIfNegative val="0"/>
          <c:dLbls>
            <c:dLbl>
              <c:idx val="1"/>
              <c:layout>
                <c:manualLayout>
                  <c:x val="-3.0721966205837174E-3"/>
                  <c:y val="-1.666677967339898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0652781305562613E-2"/>
                      <c:h val="4.28195631713830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5F05-7443-BC7E-0D728FDF71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Bystander CPR</c:v>
                </c:pt>
                <c:pt idx="1">
                  <c:v>Public AED Use</c:v>
                </c:pt>
              </c:strCache>
            </c:strRef>
          </c:cat>
          <c:val>
            <c:numRef>
              <c:f>Sheet1!$C$2:$C$3</c:f>
              <c:numCache>
                <c:formatCode>0.0%</c:formatCode>
                <c:ptCount val="2"/>
                <c:pt idx="0">
                  <c:v>0.40200000000000002</c:v>
                </c:pt>
                <c:pt idx="1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5CE-6A47-816C-A2775F2CAB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axId val="1908277368"/>
        <c:axId val="1907872312"/>
      </c:barChart>
      <c:catAx>
        <c:axId val="19082773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1907872312"/>
        <c:crosses val="autoZero"/>
        <c:auto val="1"/>
        <c:lblAlgn val="ctr"/>
        <c:lblOffset val="100"/>
        <c:noMultiLvlLbl val="0"/>
      </c:catAx>
      <c:valAx>
        <c:axId val="1907872312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908277368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10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1">
      <a:schemeClr val="lt1"/>
    </cs:lnRef>
    <cs:fillRef idx="1">
      <cs:styleClr val="auto"/>
    </cs:fillRef>
    <cs:effectRef idx="1">
      <a:schemeClr val="dk1"/>
    </cs:effectRef>
    <cs:fontRef idx="minor">
      <a:schemeClr val="tx1"/>
    </cs:fontRef>
    <cs:spPr>
      <a:ln>
        <a:round/>
      </a:ln>
    </cs:spPr>
  </cs:dataPoint>
  <cs:dataPoint3D>
    <cs:lnRef idx="1">
      <a:schemeClr val="lt1"/>
    </cs:lnRef>
    <cs:fillRef idx="1">
      <cs:styleClr val="auto"/>
    </cs:fillRef>
    <cs:effectRef idx="1">
      <a:schemeClr val="dk1"/>
    </cs:effectRef>
    <cs:fontRef idx="minor">
      <a:schemeClr val="tx1"/>
    </cs:fontRef>
    <cs:spPr>
      <a:ln>
        <a:round/>
      </a:ln>
    </cs:spPr>
  </cs:dataPoint3D>
  <cs:dataPointLine>
    <cs:lnRef idx="1">
      <cs:styleClr val="auto"/>
    </cs:lnRef>
    <cs:lineWidthScale>5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1">
      <a:schemeClr val="dk1"/>
    </cs:effectRef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1">
      <a:schemeClr val="dk1"/>
    </cs:effectRef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1">
      <a:schemeClr val="dk1"/>
    </cs:effectRef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AB44AE-05A4-47C5-9742-293DD23B97B6}" type="datetimeFigureOut">
              <a:rPr lang="en-US" smtClean="0"/>
              <a:t>5/17/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0E53EB-1A86-4C4E-BBAC-8CFA3C80595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52172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0E53EB-1A86-4C4E-BBAC-8CFA3C80595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64576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0E53EB-1A86-4C4E-BBAC-8CFA3C80595B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81287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0E53EB-1A86-4C4E-BBAC-8CFA3C80595B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05654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0E53EB-1A86-4C4E-BBAC-8CFA3C80595B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9992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0E53EB-1A86-4C4E-BBAC-8CFA3C80595B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15562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200" y="37338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431015" y="4279478"/>
            <a:ext cx="4330016" cy="1373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1500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57200" y="12954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0141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7200" y="12954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8191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531937"/>
          </a:xfr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b"/>
          <a:lstStyle>
            <a:lvl1pPr marL="0" indent="0" algn="ctr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531937"/>
          </a:xfr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b"/>
          <a:lstStyle>
            <a:lvl1pPr marL="0" indent="0" algn="ctr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57200" y="12954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583712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Cambria"/>
                <a:cs typeface="Cambria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371600"/>
            <a:ext cx="4038600" cy="4530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371600"/>
            <a:ext cx="4038600" cy="21891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713163"/>
            <a:ext cx="4038600" cy="21891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Line 2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0" y="106045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/>
          <a:lstStyle/>
          <a:p>
            <a:pPr>
              <a:defRPr/>
            </a:pPr>
            <a:endParaRPr lang="en-US" dirty="0">
              <a:ea typeface="+mn-ea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4821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457200" y="12954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469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4774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735BC-9D73-6044-AB28-C9EE5BA20DC0}" type="datetimeFigureOut">
              <a:rPr lang="en-US" smtClean="0"/>
              <a:t>5/17/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6AD9FD-757C-FE4F-BB7B-1478392C0EB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3026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3" r:id="rId4"/>
    <p:sldLayoutId id="2147483656" r:id="rId5"/>
    <p:sldLayoutId id="2147483654" r:id="rId6"/>
    <p:sldLayoutId id="2147483655" r:id="rId7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2"/>
          </a:solidFill>
          <a:latin typeface="Cambria"/>
          <a:ea typeface="+mj-ea"/>
          <a:cs typeface="Cambria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Cambria"/>
          <a:ea typeface="+mn-ea"/>
          <a:cs typeface="Cambria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Cambria"/>
          <a:ea typeface="+mn-ea"/>
          <a:cs typeface="Cambria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Cambria"/>
          <a:ea typeface="+mn-ea"/>
          <a:cs typeface="Cambria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Cambria"/>
          <a:ea typeface="+mn-ea"/>
          <a:cs typeface="Cambria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Cambria"/>
          <a:ea typeface="+mn-ea"/>
          <a:cs typeface="Cambri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ARES 2020 National Report Summary: Vermont</a:t>
            </a:r>
          </a:p>
        </p:txBody>
      </p:sp>
    </p:spTree>
    <p:extLst>
      <p:ext uri="{BB962C8B-B14F-4D97-AF65-F5344CB8AC3E}">
        <p14:creationId xmlns:p14="http://schemas.microsoft.com/office/powerpoint/2010/main" val="20286649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990600"/>
          </a:xfrm>
        </p:spPr>
        <p:txBody>
          <a:bodyPr>
            <a:noAutofit/>
          </a:bodyPr>
          <a:lstStyle/>
          <a:p>
            <a:r>
              <a:rPr lang="en-US" sz="3600" dirty="0"/>
              <a:t>Survival Rates: Bystander Witnessed Shockable Rhythm</a:t>
            </a:r>
          </a:p>
        </p:txBody>
      </p:sp>
      <p:graphicFrame>
        <p:nvGraphicFramePr>
          <p:cNvPr id="4" name="Content Placeholder 6"/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1274750065"/>
              </p:ext>
            </p:extLst>
          </p:nvPr>
        </p:nvGraphicFramePr>
        <p:xfrm>
          <a:off x="347868" y="1468281"/>
          <a:ext cx="8458200" cy="44455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743200" y="6257836"/>
            <a:ext cx="6400800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/>
              <a:buChar char="•"/>
              <a:defRPr/>
            </a:pPr>
            <a:r>
              <a:rPr lang="en-US" sz="1100" i="1" dirty="0">
                <a:solidFill>
                  <a:srgbClr val="000000"/>
                </a:solidFill>
                <a:latin typeface="Cambria"/>
                <a:cs typeface="Cambria"/>
              </a:rPr>
              <a:t>Utstein = Witnessed by bystander and found in a shockable rhythm</a:t>
            </a:r>
          </a:p>
          <a:p>
            <a:pPr marL="171450" indent="-171450">
              <a:buFont typeface="Arial"/>
              <a:buChar char="•"/>
              <a:defRPr/>
            </a:pPr>
            <a:r>
              <a:rPr lang="en-US" sz="1100" i="1" dirty="0">
                <a:solidFill>
                  <a:srgbClr val="000000"/>
                </a:solidFill>
                <a:latin typeface="Cambria"/>
                <a:cs typeface="Cambria"/>
              </a:rPr>
              <a:t>Utstein Bystander = Witnessed by bystander, found in shockable rhythm, and received some bystander intervention (CPR and/or AED application</a:t>
            </a:r>
            <a:r>
              <a:rPr lang="en-US" sz="1100" dirty="0">
                <a:solidFill>
                  <a:srgbClr val="000000"/>
                </a:solidFill>
                <a:latin typeface="Cambria"/>
                <a:cs typeface="Cambria"/>
              </a:rPr>
              <a:t>)</a:t>
            </a:r>
            <a:endParaRPr lang="en-US" sz="1100" i="1" dirty="0">
              <a:solidFill>
                <a:srgbClr val="000000"/>
              </a:solidFill>
              <a:latin typeface="Cambria"/>
              <a:cs typeface="Cambria"/>
            </a:endParaRPr>
          </a:p>
        </p:txBody>
      </p:sp>
    </p:spTree>
    <p:extLst>
      <p:ext uri="{BB962C8B-B14F-4D97-AF65-F5344CB8AC3E}">
        <p14:creationId xmlns:p14="http://schemas.microsoft.com/office/powerpoint/2010/main" val="29847278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tion of Arrest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697637584"/>
              </p:ext>
            </p:extLst>
          </p:nvPr>
        </p:nvGraphicFramePr>
        <p:xfrm>
          <a:off x="-113875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A568D3DC-4C98-674C-BF38-9C10CF4CAC8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77614664"/>
              </p:ext>
            </p:extLst>
          </p:nvPr>
        </p:nvGraphicFramePr>
        <p:xfrm>
          <a:off x="5599522" y="1427580"/>
          <a:ext cx="470434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7523471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rest Witness Status</a:t>
            </a:r>
          </a:p>
        </p:txBody>
      </p:sp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1162F49B-E8DE-8C4E-842A-C8EBAB534C5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74666555"/>
              </p:ext>
            </p:extLst>
          </p:nvPr>
        </p:nvGraphicFramePr>
        <p:xfrm>
          <a:off x="-84058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B6CC6554-F269-DC4D-86E0-C44A99FBA2C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05649651"/>
              </p:ext>
            </p:extLst>
          </p:nvPr>
        </p:nvGraphicFramePr>
        <p:xfrm>
          <a:off x="5157177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0924188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o Initiated CPR</a:t>
            </a:r>
          </a:p>
        </p:txBody>
      </p:sp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1162F49B-E8DE-8C4E-842A-C8EBAB534C5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996174"/>
              </p:ext>
            </p:extLst>
          </p:nvPr>
        </p:nvGraphicFramePr>
        <p:xfrm>
          <a:off x="-84058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B6CC6554-F269-DC4D-86E0-C44A99FBA2C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70482875"/>
              </p:ext>
            </p:extLst>
          </p:nvPr>
        </p:nvGraphicFramePr>
        <p:xfrm>
          <a:off x="5157177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6979554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85797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dirty="0"/>
              <a:t>Was an AED Applied </a:t>
            </a:r>
            <a:br>
              <a:rPr lang="en-US" dirty="0"/>
            </a:br>
            <a:r>
              <a:rPr lang="en-US" dirty="0"/>
              <a:t>prior to EMS arrival?</a:t>
            </a:r>
          </a:p>
        </p:txBody>
      </p:sp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1162F49B-E8DE-8C4E-842A-C8EBAB534C5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25402944"/>
              </p:ext>
            </p:extLst>
          </p:nvPr>
        </p:nvGraphicFramePr>
        <p:xfrm>
          <a:off x="-84058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B6CC6554-F269-DC4D-86E0-C44A99FBA2C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56877201"/>
              </p:ext>
            </p:extLst>
          </p:nvPr>
        </p:nvGraphicFramePr>
        <p:xfrm>
          <a:off x="5298691" y="1429131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9075042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ystander Intervention Rates</a:t>
            </a:r>
          </a:p>
        </p:txBody>
      </p:sp>
      <p:graphicFrame>
        <p:nvGraphicFramePr>
          <p:cNvPr id="4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435995989"/>
              </p:ext>
            </p:extLst>
          </p:nvPr>
        </p:nvGraphicFramePr>
        <p:xfrm>
          <a:off x="533400" y="1500809"/>
          <a:ext cx="8267700" cy="4571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47F5F705-F5A9-164E-97D6-785C209DE5CA}"/>
              </a:ext>
            </a:extLst>
          </p:cNvPr>
          <p:cNvSpPr txBox="1"/>
          <p:nvPr/>
        </p:nvSpPr>
        <p:spPr>
          <a:xfrm>
            <a:off x="2743200" y="6257836"/>
            <a:ext cx="6400800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 dirty="0">
                <a:latin typeface="Cambria" panose="02040503050406030204" pitchFamily="18" charset="0"/>
              </a:rPr>
              <a:t>Bystander CPR rate excludes 911 Responder Witnessed, Nursing Home, and Healthcare Facility arres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 dirty="0">
                <a:latin typeface="Cambria" panose="02040503050406030204" pitchFamily="18" charset="0"/>
              </a:rPr>
              <a:t>Public AED Use rate excludes 911 Responder Witnessed, Home/Residence, Nursing Home, and Healthcare Facility arrests.</a:t>
            </a:r>
          </a:p>
        </p:txBody>
      </p:sp>
    </p:spTree>
    <p:extLst>
      <p:ext uri="{BB962C8B-B14F-4D97-AF65-F5344CB8AC3E}">
        <p14:creationId xmlns:p14="http://schemas.microsoft.com/office/powerpoint/2010/main" val="32767043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rst Arrest Rhythm</a:t>
            </a:r>
          </a:p>
        </p:txBody>
      </p:sp>
      <p:graphicFrame>
        <p:nvGraphicFramePr>
          <p:cNvPr id="4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85939461"/>
              </p:ext>
            </p:extLst>
          </p:nvPr>
        </p:nvGraphicFramePr>
        <p:xfrm>
          <a:off x="419100" y="1417638"/>
          <a:ext cx="8267700" cy="48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0534845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stained ROSC in the field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615850812"/>
              </p:ext>
            </p:extLst>
          </p:nvPr>
        </p:nvGraphicFramePr>
        <p:xfrm>
          <a:off x="152400" y="1371600"/>
          <a:ext cx="4966252" cy="453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3B0789E3-637F-A244-B2FD-3DD00938CB0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75043171"/>
              </p:ext>
            </p:extLst>
          </p:nvPr>
        </p:nvGraphicFramePr>
        <p:xfrm>
          <a:off x="5098774" y="1371599"/>
          <a:ext cx="4966252" cy="453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833437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rvival Rates: Overall Survival</a:t>
            </a:r>
          </a:p>
        </p:txBody>
      </p:sp>
      <p:graphicFrame>
        <p:nvGraphicFramePr>
          <p:cNvPr id="4" name="Content Placeholder 12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652451555"/>
              </p:ext>
            </p:extLst>
          </p:nvPr>
        </p:nvGraphicFramePr>
        <p:xfrm>
          <a:off x="188843" y="1550504"/>
          <a:ext cx="8816011" cy="4552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2731038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frxcjdgkObC1cHJ61HZ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7</TotalTime>
  <Words>137</Words>
  <Application>Microsoft Macintosh PowerPoint</Application>
  <PresentationFormat>On-screen Show (4:3)</PresentationFormat>
  <Paragraphs>29</Paragraphs>
  <Slides>10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Arial</vt:lpstr>
      <vt:lpstr>Calibri</vt:lpstr>
      <vt:lpstr>Cambria</vt:lpstr>
      <vt:lpstr>Office Theme</vt:lpstr>
      <vt:lpstr>CARES 2020 National Report Summary: Vermont</vt:lpstr>
      <vt:lpstr>Location of Arrest</vt:lpstr>
      <vt:lpstr>Arrest Witness Status</vt:lpstr>
      <vt:lpstr>Who Initiated CPR</vt:lpstr>
      <vt:lpstr>Was an AED Applied  prior to EMS arrival?</vt:lpstr>
      <vt:lpstr>Bystander Intervention Rates</vt:lpstr>
      <vt:lpstr>First Arrest Rhythm</vt:lpstr>
      <vt:lpstr>Sustained ROSC in the field</vt:lpstr>
      <vt:lpstr>Survival Rates: Overall Survival</vt:lpstr>
      <vt:lpstr>Survival Rates: Bystander Witnessed Shockable Rhythm</vt:lpstr>
    </vt:vector>
  </TitlesOfParts>
  <Company>Emory Universit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lison Crouch</dc:creator>
  <cp:lastModifiedBy>Daniel Wolfson</cp:lastModifiedBy>
  <cp:revision>45</cp:revision>
  <dcterms:created xsi:type="dcterms:W3CDTF">2018-11-12T17:36:49Z</dcterms:created>
  <dcterms:modified xsi:type="dcterms:W3CDTF">2021-05-17T14:11:57Z</dcterms:modified>
</cp:coreProperties>
</file>